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7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8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45.xml" ContentType="application/vnd.openxmlformats-officedocument.presentationml.slideLayout+xml"/>
  <Override PartName="/ppt/theme/theme9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0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1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2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3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5" r:id="rId4"/>
    <p:sldMasterId id="2147483739" r:id="rId5"/>
    <p:sldMasterId id="2147483761" r:id="rId6"/>
    <p:sldMasterId id="2147483804" r:id="rId7"/>
    <p:sldMasterId id="2147483834" r:id="rId8"/>
    <p:sldMasterId id="2147483848" r:id="rId9"/>
    <p:sldMasterId id="2147483882" r:id="rId10"/>
    <p:sldMasterId id="2147483912" r:id="rId11"/>
    <p:sldMasterId id="2147483934" r:id="rId12"/>
    <p:sldMasterId id="2147483939" r:id="rId13"/>
    <p:sldMasterId id="2147483952" r:id="rId14"/>
    <p:sldMasterId id="2147483955" r:id="rId15"/>
    <p:sldMasterId id="2147483961" r:id="rId16"/>
  </p:sldMasterIdLst>
  <p:notesMasterIdLst>
    <p:notesMasterId r:id="rId21"/>
  </p:notesMasterIdLst>
  <p:handoutMasterIdLst>
    <p:handoutMasterId r:id="rId22"/>
  </p:handoutMasterIdLst>
  <p:sldIdLst>
    <p:sldId id="972" r:id="rId17"/>
    <p:sldId id="981" r:id="rId18"/>
    <p:sldId id="982" r:id="rId19"/>
    <p:sldId id="976" r:id="rId20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72"/>
            <p14:sldId id="981"/>
            <p14:sldId id="982"/>
            <p14:sldId id="9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26" autoAdjust="0"/>
    <p:restoredTop sz="96325" autoAdjust="0"/>
  </p:normalViewPr>
  <p:slideViewPr>
    <p:cSldViewPr snapToGrid="0" snapToObjects="1">
      <p:cViewPr>
        <p:scale>
          <a:sx n="155" d="100"/>
          <a:sy n="155" d="100"/>
        </p:scale>
        <p:origin x="-738" y="72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8/1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8/1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7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7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7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7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7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7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7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7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7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7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3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8/10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287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17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6782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5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052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8/10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7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/10/20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8/10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8/10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8/10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8/10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8/10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8/10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8/10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9981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98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347274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8/10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187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8/10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8/10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8/10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/>
              <a:pPr>
                <a:defRPr/>
              </a:pPr>
              <a:t>8/10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662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901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8/10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8/10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516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382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9718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8/10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8/10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5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8/10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8/10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6344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4" Type="http://schemas.openxmlformats.org/officeDocument/2006/relationships/image" Target="../media/image13.jp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image" Target="../media/image1.pn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156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image" Target="../media/image1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image" Target="../media/image5.jpeg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Relationship Id="rId8" Type="http://schemas.openxmlformats.org/officeDocument/2006/relationships/slideLayout" Target="../slideLayouts/slideLayout6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8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8.xml"/><Relationship Id="rId21" Type="http://schemas.openxmlformats.org/officeDocument/2006/relationships/image" Target="../media/image5.jpeg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8/10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8/10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981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90" r:id="rId25"/>
    <p:sldLayoutId id="2147483803" r:id="rId26"/>
    <p:sldLayoutId id="21474838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8/10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30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8/10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  <p:sldLayoutId id="2147483865" r:id="rId1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10" r:id="rId25"/>
    <p:sldLayoutId id="2147483911" r:id="rId26"/>
    <p:sldLayoutId id="21474839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8/10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/10/20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Recurring Top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6694133"/>
              </p:ext>
            </p:extLst>
          </p:nvPr>
        </p:nvGraphicFramePr>
        <p:xfrm>
          <a:off x="625784" y="886473"/>
          <a:ext cx="7858985" cy="3660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95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service and planning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 </a:t>
                      </a:r>
                      <a:endPara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C update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N Productivity 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Performance Metrics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RIDE/TNC pilot  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3rd meeting of month) - August 13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17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1st meeting of month) -  August 13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10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– August 13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24   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16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ober TBD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June 11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September 17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ugust 13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ugust 13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ugust 13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June 11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17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17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16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o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June 25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10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 August 13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November TBD</a:t>
                      </a:r>
                    </a:p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baseline="0" noProof="0" dirty="0">
                          <a:solidFill>
                            <a:srgbClr val="0C0C0C"/>
                          </a:solidFill>
                          <a:latin typeface="Arial"/>
                          <a:cs typeface="Arial"/>
                        </a:rPr>
                        <a:t>Quarterly –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ne 25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24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inuous, as needed 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648865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7456262"/>
              </p:ext>
            </p:extLst>
          </p:nvPr>
        </p:nvGraphicFramePr>
        <p:xfrm>
          <a:off x="517999" y="715074"/>
          <a:ext cx="8025666" cy="1992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30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96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36080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</a:tblGrid>
              <a:tr h="221456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1456">
                <a:tc rowSpan="7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September 10*</a:t>
                      </a:r>
                      <a:endParaRPr lang="en-US" dirty="0"/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41)</a:t>
                      </a:r>
                      <a:endParaRPr lang="en-US"/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Lean Productivity Update</a:t>
                      </a:r>
                      <a:endParaRPr lang="en-US"/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/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Quarterly Update</a:t>
                      </a:r>
                      <a:endParaRPr lang="en-US"/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Red/Orange Line Program Update</a:t>
                      </a:r>
                      <a:endParaRPr lang="en-US"/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Update</a:t>
                      </a:r>
                      <a:endParaRPr lang="en-US" sz="110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Red Line #3 Car Program Overview &amp; Supporting Consultant Contract Award</a:t>
                      </a:r>
                      <a:endParaRPr lang="en-US"/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Red/Orange Line Vehicle Consultant Amendment</a:t>
                      </a:r>
                      <a:endParaRPr lang="en-US"/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/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950647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TAM Update</a:t>
                      </a:r>
                      <a:endParaRPr lang="en-US"/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/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466715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22084634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20400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429836A-917B-4D34-8ABA-5702033F04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836999"/>
              </p:ext>
            </p:extLst>
          </p:nvPr>
        </p:nvGraphicFramePr>
        <p:xfrm>
          <a:off x="475135" y="757936"/>
          <a:ext cx="8025666" cy="2281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0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321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06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2747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307">
                <a:tc rowSpan="9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September 17</a:t>
                      </a:r>
                      <a:endParaRPr lang="en-US" sz="1100" b="1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42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Commuter Rail Performance Update</a:t>
                      </a:r>
                      <a:endParaRPr lang="en-US"/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Monthly Update</a:t>
                      </a:r>
                      <a:endParaRPr lang="en-US"/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Commuter Rail Revenue Sharing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480045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GLX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77241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Human Resources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Focus40</a:t>
                      </a: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 </a:t>
                      </a: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Strategic</a:t>
                      </a: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 Plan Update</a:t>
                      </a:r>
                      <a:endParaRPr lang="en-US" sz="11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TC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Quarterly Update </a:t>
                      </a:r>
                      <a:endParaRPr lang="en-US">
                        <a:solidFill>
                          <a:srgbClr val="000000"/>
                        </a:solidFill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847577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Red-Blue Connector</a:t>
                      </a: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7527264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4072913"/>
              </p:ext>
            </p:extLst>
          </p:nvPr>
        </p:nvGraphicFramePr>
        <p:xfrm>
          <a:off x="496564" y="3284928"/>
          <a:ext cx="8025668" cy="1383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536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91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2755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</a:tblGrid>
              <a:tr h="221602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307">
                <a:tc row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September 24</a:t>
                      </a:r>
                      <a:endParaRPr lang="en-US" sz="1100" b="1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43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Bus Service and Planning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Bus Performance Metrics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Bus Dropped Trips</a:t>
                      </a: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apital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72868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525271288"/>
              </p:ext>
            </p:extLst>
          </p:nvPr>
        </p:nvGraphicFramePr>
        <p:xfrm>
          <a:off x="461963" y="950913"/>
          <a:ext cx="8405653" cy="3536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6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3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7975"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Trespasser Strike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Locomotive Overhaul Programs Updat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Uniforms 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Greenbush Line Service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Green Line Construction Updates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AFC 2.0 and Commuter Rail Update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Working group update on activities and action pla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ludes: GLX, AFC 2, Bus, Keolis, …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To Be Schedul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2176598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3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3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7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120D1B9627874F919FA68D292E433D" ma:contentTypeVersion="2" ma:contentTypeDescription="Create a new document." ma:contentTypeScope="" ma:versionID="55033a35f013b8e54221fb280d03b848">
  <xsd:schema xmlns:xsd="http://www.w3.org/2001/XMLSchema" xmlns:xs="http://www.w3.org/2001/XMLSchema" xmlns:p="http://schemas.microsoft.com/office/2006/metadata/properties" xmlns:ns2="8b5420c0-7c9f-48e9-b5bf-2b405388e378" targetNamespace="http://schemas.microsoft.com/office/2006/metadata/properties" ma:root="true" ma:fieldsID="703cd91ecccf0f34ef752d18b3622996" ns2:_="">
    <xsd:import namespace="8b5420c0-7c9f-48e9-b5bf-2b405388e3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5420c0-7c9f-48e9-b5bf-2b405388e3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F1FC64-E47D-4612-8598-863A817D5AF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8C71409-AC47-4642-A081-8D4B866960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5420c0-7c9f-48e9-b5bf-2b405388e3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29753</TotalTime>
  <Words>351</Words>
  <Application>Microsoft Office PowerPoint</Application>
  <PresentationFormat>On-screen Show (16:9)</PresentationFormat>
  <Paragraphs>148</Paragraphs>
  <Slides>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3</vt:i4>
      </vt:variant>
      <vt:variant>
        <vt:lpstr>Slide Titles</vt:lpstr>
      </vt:variant>
      <vt:variant>
        <vt:i4>4</vt:i4>
      </vt:variant>
    </vt:vector>
  </HeadingPairs>
  <TitlesOfParts>
    <vt:vector size="17" baseType="lpstr"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2_MBTA Black Line - Blue Title Template</vt:lpstr>
      <vt:lpstr>FMCB Calendar – Recurring Topics</vt:lpstr>
      <vt:lpstr>Future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MCB Calendar – Recurring Topics</dc:title>
  <dc:creator>Trey Joseph Wadsworth</dc:creator>
  <cp:lastModifiedBy>DAS</cp:lastModifiedBy>
  <cp:revision>938</cp:revision>
  <cp:lastPrinted>2018-07-13T16:43:23Z</cp:lastPrinted>
  <dcterms:created xsi:type="dcterms:W3CDTF">2016-03-11T16:43:25Z</dcterms:created>
  <dcterms:modified xsi:type="dcterms:W3CDTF">2018-08-10T15:3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120D1B9627874F919FA68D292E433D</vt:lpwstr>
  </property>
</Properties>
</file>